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311" r:id="rId2"/>
    <p:sldId id="397" r:id="rId3"/>
    <p:sldId id="398" r:id="rId4"/>
    <p:sldId id="399" r:id="rId5"/>
    <p:sldId id="402" r:id="rId6"/>
    <p:sldId id="400" r:id="rId7"/>
    <p:sldId id="401" r:id="rId8"/>
    <p:sldId id="314" r:id="rId9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Advanced Differentiation </a:t>
            </a:r>
            <a:r>
              <a:rPr lang="en-US" dirty="0" smtClean="0"/>
              <a:t>Rules</a:t>
            </a:r>
            <a:br>
              <a:rPr lang="en-US" dirty="0" smtClean="0"/>
            </a:br>
            <a:r>
              <a:rPr lang="en-US" dirty="0" smtClean="0"/>
              <a:t>Higher-Order Derivative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Derivative of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ponential Functions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Product &amp; Quotient Rule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rivatives of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rigonometric Functions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dvanced</a:t>
            </a:r>
          </a:p>
          <a:p>
            <a:pPr algn="ctr"/>
            <a:r>
              <a:rPr lang="en-US" sz="1000" dirty="0" smtClean="0"/>
              <a:t>Differentiation Rules</a:t>
            </a:r>
            <a:endParaRPr lang="en-US" sz="1000" dirty="0" smtClean="0"/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Higher-Order Derivativ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ften it is possible to take the derivative of a derivative (i.e. the second derivative) or even derivatives of higher orde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6642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7053258" cy="1789083"/>
          </a:xfrm>
          <a:prstGeom prst="rect">
            <a:avLst/>
          </a:prstGeom>
          <a:noFill/>
          <a:ln/>
          <a:effectLst/>
        </p:spPr>
      </p:pic>
      <p:sp>
        <p:nvSpPr>
          <p:cNvPr id="6" name="Geschweifte Klammer rechts 5"/>
          <p:cNvSpPr/>
          <p:nvPr/>
        </p:nvSpPr>
        <p:spPr>
          <a:xfrm rot="5400000">
            <a:off x="4260153" y="2931790"/>
            <a:ext cx="144016" cy="432048"/>
          </a:xfrm>
          <a:prstGeom prst="rightBrace">
            <a:avLst>
              <a:gd name="adj1" fmla="val 34789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eschweifte Klammer rechts 6"/>
          <p:cNvSpPr/>
          <p:nvPr/>
        </p:nvSpPr>
        <p:spPr>
          <a:xfrm rot="5400000">
            <a:off x="4934140" y="2895786"/>
            <a:ext cx="144016" cy="504056"/>
          </a:xfrm>
          <a:prstGeom prst="rightBrace">
            <a:avLst>
              <a:gd name="adj1" fmla="val 34789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Geschweifte Klammer rechts 7"/>
          <p:cNvSpPr/>
          <p:nvPr/>
        </p:nvSpPr>
        <p:spPr>
          <a:xfrm rot="5400000">
            <a:off x="6038638" y="2895786"/>
            <a:ext cx="144016" cy="504056"/>
          </a:xfrm>
          <a:prstGeom prst="rightBrace">
            <a:avLst>
              <a:gd name="adj1" fmla="val 34789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3980240" y="3291830"/>
            <a:ext cx="702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derivative</a:t>
            </a:r>
          </a:p>
          <a:p>
            <a:pPr algn="ctr"/>
            <a:r>
              <a:rPr lang="en-US" sz="1000" dirty="0" smtClean="0"/>
              <a:t>of</a:t>
            </a:r>
            <a:endParaRPr lang="en-US" sz="1000" dirty="0"/>
          </a:p>
        </p:txBody>
      </p:sp>
      <p:sp>
        <p:nvSpPr>
          <p:cNvPr id="10" name="Textfeld 9"/>
          <p:cNvSpPr txBox="1"/>
          <p:nvPr/>
        </p:nvSpPr>
        <p:spPr>
          <a:xfrm>
            <a:off x="4656889" y="3291830"/>
            <a:ext cx="7024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first</a:t>
            </a:r>
          </a:p>
          <a:p>
            <a:pPr algn="ctr"/>
            <a:r>
              <a:rPr lang="en-US" sz="1000" dirty="0" smtClean="0"/>
              <a:t>derivative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762232" y="3291830"/>
            <a:ext cx="7024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second</a:t>
            </a:r>
          </a:p>
          <a:p>
            <a:pPr algn="ctr"/>
            <a:r>
              <a:rPr lang="en-US" sz="1000" dirty="0" smtClean="0"/>
              <a:t>derivative</a:t>
            </a:r>
          </a:p>
        </p:txBody>
      </p:sp>
      <p:sp>
        <p:nvSpPr>
          <p:cNvPr id="15" name="Rechteck 14"/>
          <p:cNvSpPr/>
          <p:nvPr/>
        </p:nvSpPr>
        <p:spPr>
          <a:xfrm>
            <a:off x="1691680" y="4011910"/>
            <a:ext cx="7200800" cy="100811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4083906"/>
            <a:ext cx="7043944" cy="861805"/>
          </a:xfrm>
          <a:prstGeom prst="rect">
            <a:avLst/>
          </a:prstGeom>
          <a:noFill/>
          <a:ln/>
          <a:effectLst/>
        </p:spPr>
      </p:pic>
      <p:sp>
        <p:nvSpPr>
          <p:cNvPr id="20" name="Gefaltete Ecke 19"/>
          <p:cNvSpPr/>
          <p:nvPr/>
        </p:nvSpPr>
        <p:spPr>
          <a:xfrm>
            <a:off x="251520" y="4011910"/>
            <a:ext cx="1224136" cy="1008112"/>
          </a:xfrm>
          <a:prstGeom prst="foldedCorne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he </a:t>
            </a:r>
            <a:r>
              <a:rPr lang="en-US" sz="1200" i="1" dirty="0" smtClean="0">
                <a:solidFill>
                  <a:schemeClr val="tx1"/>
                </a:solidFill>
              </a:rPr>
              <a:t>0</a:t>
            </a:r>
            <a:r>
              <a:rPr lang="en-US" sz="1200" dirty="0" smtClean="0">
                <a:solidFill>
                  <a:schemeClr val="tx1"/>
                </a:solidFill>
              </a:rPr>
              <a:t>-th derivative is the function itself: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f</a:t>
            </a:r>
            <a:r>
              <a:rPr lang="en-US" sz="1200" baseline="30000" dirty="0" smtClean="0">
                <a:solidFill>
                  <a:schemeClr val="tx1"/>
                </a:solidFill>
              </a:rPr>
              <a:t>(0)</a:t>
            </a:r>
            <a:r>
              <a:rPr lang="en-US" sz="1200" dirty="0" smtClean="0">
                <a:solidFill>
                  <a:schemeClr val="tx1"/>
                </a:solidFill>
              </a:rPr>
              <a:t>(x) = f(x) 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ation of the second derivative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031" y="1131590"/>
            <a:ext cx="2787405" cy="1800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9"/>
            <a:ext cx="5361284" cy="37368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ation of the second derivative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031" y="1131590"/>
            <a:ext cx="2787405" cy="1800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72819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9"/>
            <a:ext cx="5366869" cy="15078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rivative of the natural exponential function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01110"/>
            <a:ext cx="2204553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76"/>
            <a:ext cx="5375391" cy="377550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general, we can interpret a second derivative as a rate of change of a rate of change: the most familiar example of this is accele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171836"/>
            <a:ext cx="7060232" cy="3803733"/>
          </a:xfrm>
          <a:prstGeom prst="rect">
            <a:avLst/>
          </a:prstGeom>
          <a:noFill/>
          <a:ln/>
          <a:effectLst/>
        </p:spPr>
      </p:pic>
      <p:sp>
        <p:nvSpPr>
          <p:cNvPr id="6" name="Gefaltete Ecke 5"/>
          <p:cNvSpPr/>
          <p:nvPr/>
        </p:nvSpPr>
        <p:spPr>
          <a:xfrm>
            <a:off x="251520" y="3435846"/>
            <a:ext cx="1224136" cy="1584176"/>
          </a:xfrm>
          <a:prstGeom prst="foldedCorne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for </a:t>
            </a:r>
            <a:r>
              <a:rPr lang="en-US" sz="1200" b="1" dirty="0" smtClean="0">
                <a:solidFill>
                  <a:schemeClr val="tx1"/>
                </a:solidFill>
              </a:rPr>
              <a:t>time-dependent</a:t>
            </a:r>
            <a:r>
              <a:rPr lang="en-US" sz="1200" dirty="0" smtClean="0">
                <a:solidFill>
                  <a:schemeClr val="tx1"/>
                </a:solidFill>
              </a:rPr>
              <a:t> functions we use the dot-notation to indicate derivatives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hird derivative and even higher-orders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71029" cy="278511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95,613"/>
  <p:tag name="ORIGINALWIDTH" val="4491,189"/>
  <p:tag name="LATEXADDIN" val="\documentclass{article}\pagestyle{empty}&#10;\usepackage{amsmath}&#10;\usepackage{amsfonts}&#10;\usepackage{amssymb}&#10;\begin{document}&#10;\begin{minipage}{12.7 cm}&#10;{\sffamily{&#10;If $f$ is a differentiable function, then its derivative $f'$ is also a function, so $f'$ may have a derivative of its own, denoted by $(f')' = f''$. This new function $f''$ is called the {\bf{second derivative}} of $f$ because it is the derivative of the derivative of $f$.\\[2mm]&#10;Using Leibniz notation, we write the second derivative of $y = f(x)$ as&#10;$$&#10;\frac{\textrm{d}}{\textrm{d} \, x} \quad \left( \frac{\textrm{d} \, y}{\textrm{d} \, x} \right) \quad = \quad \frac{\textrm{d}^2 \, y}{\textrm{d} \, x^2} \, .&#10;$$&#10;}}&#10;\end{minipage}&#10;\end{document}"/>
  <p:tag name="IGUANATEXSIZE" val="20"/>
  <p:tag name="IGUANATEXCURSOR" val="6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26,4343"/>
  <p:tag name="ORIGINALWIDTH" val="4483,69"/>
  <p:tag name="LATEXADDIN" val="\documentclass{article}\pagestyle{empty}&#10;\usepackage{amsmath}&#10;\usepackage{amsfonts}&#10;\usepackage{amssymb}&#10;\begin{document}&#10;\begin{minipage}{12.7 cm}&#10;{\sffamily{&#10;Analogously the $n$-th derivative, $n \in \mathbb{N}$, of a function is defined (presumed it is defined):&#10;$$&#10;f^{(n)}(x) \, \, = \, \,&#10;\frac{\textrm{d}^n \, f(x)}{\textrm{d} \, x^n} \, .&#10;$$&#10;}}&#10;\end{minipage}&#10;\end{document}"/>
  <p:tag name="IGUANATEXSIZE" val="20"/>
  <p:tag name="IGUANATEXCURSOR" val="3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3,96"/>
  <p:tag name="ORIGINALWIDTH" val="3428,572"/>
  <p:tag name="LATEXADDIN" val="\documentclass{article}\pagestyle{empty}&#10;\usepackage{amsmath}&#10;\usepackage{amsfonts}&#10;\usepackage{amssymb}&#10;\begin{document}&#10;\begin{minipage}{9.7 cm}&#10;{\sffamily{&#10;{\bf{Example:}}&#10;Let $f(x) = x^3-x$, find and interpret $f''(x)$.\\[2mm]&#10;&#10;{\bf{Solution:}} In a previous example, we found the first derivative $f'(x) = 3x^2 -1$ of $f$.\\[1mm]&#10;So the second derivative is&#10;\begin{eqnarray*}&#10;f''(x) &amp; = &amp; (f')'(x) \, \, = \, \, \lim_{h \to 0} \, \frac{f'(x+h) - f'(x)}{h} \\[2mm]&#10;&amp; = &amp;&#10;\lim_{h \to 0} \, \frac{\left( 3(x+h)^2 - 1 \right) - \left( 3x^2 - 1 \right)}{h} \\[2mm]&#10;&amp; = &amp;&#10;\lim_{h \to 0} \, \frac{3x^2 + 6xh + 3h^2 - 1 - 3x^2 + 1}{h} \\[2mm] &#10;&amp; = &amp;&#10;\lim_{h \to 0} \, \left( 6x + 3 h \right) \, \, = \, \, 6 x \, .&#10;\end{eqnarray*}&#10;}}&#10;\end{minipage}&#10;\end{document}"/>
  <p:tag name="IGUANATEXSIZE" val="20"/>
  <p:tag name="IGUANATEXCURSOR" val="6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37,3829"/>
  <p:tag name="ORIGINALWIDTH" val="3431,571"/>
  <p:tag name="LATEXADDIN" val="\documentclass{article}\pagestyle{empty}&#10;\usepackage{amsmath}&#10;\usepackage{amsfonts}&#10;\usepackage{amssymb}&#10;\begin{document}&#10;\begin{minipage}{9.7 cm}&#10;{\sffamily{&#10;We can interpret $f''(x)$ as the slope of the curve $y = f'(x)$ at the point $(x, f'(x))$. In other words, it is the rate of change of the slope of the original curve $y = f(x)$.\\[2mm]&#10;Notice from the figure that $f''(x)$ is negative when $y = f'(x)$ has negative slope and positive when $y = f'(x)$ has positive slope. So the graphs serve as a check on our calculations.}}&#10;\end{minipage}&#10;\end{document}"/>
  <p:tag name="IGUANATEXSIZE" val="20"/>
  <p:tag name="IGUANATEXCURSOR" val="5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7,709"/>
  <p:tag name="ORIGINALWIDTH" val="3431,571"/>
  <p:tag name="LATEXADDIN" val="\documentclass{article}\pagestyle{empty}&#10;\usepackage{amsmath}&#10;\usepackage{amsfonts}&#10;\usepackage{amssymb}&#10;\begin{document}&#10;\begin{minipage}{9.7 cm}&#10;{\sffamily{&#10;{\bf{Example:}}&#10;If $f(x) = {\rm{e}}^x - x$, find $f'$ and $f''$.\\[1mm]&#10;&#10;{\bf{Solution:}} Using the Difference Rule, we have\\[-2mm]&#10;$$&#10;f'(x) \, \, = \, \, \frac{\textrm{d}}{\textrm{d} \, x} \left( {\rm{e}}^x - x \right) \, \, = \, \, {\rm{e}}^x - 1&#10;$$&#10;and thus\\[-2mm]&#10;$$&#10;f''(x) \, \, = \, \, \frac{\textrm{d}}{\textrm{d} \, x} \left( {\rm{e}}^x - 1 \right) \, \, = \, \, {\rm{e}}^x \, .&#10;$$&#10;The function $f$ and its derivative $f'$ are graphed in the figure on the left-hand side:\\[-6mm]&#10;\begin{itemize}&#10;\item Notice that $f$ has a horizontal tangent when $x = 0$; this corresponds to the fact that $f'(0) = 0$.\\[-6mm]&#10;\item Notice also that, for $x &gt; 0$, $f'(x)$ is positive and $f$ is increasing. When $x &lt; 0$, $f'(x)$ is negative and $f$ is decreasing.&#10;\end{itemize}&#10;}}&#10;\end{minipage}&#10;\end{document}"/>
  <p:tag name="IGUANATEXSIZE" val="20"/>
  <p:tag name="IGUANATEXCURSOR" val="2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9,209"/>
  <p:tag name="ORIGINALWIDTH" val="4494,188"/>
  <p:tag name="LATEXADDIN" val="\documentclass{article}\pagestyle{empty}&#10;\usepackage{amsmath}&#10;\usepackage{amsfonts}&#10;\usepackage{amssymb}&#10;\begin{document}&#10;\begin{minipage}{12.7 cm}&#10;{\sffamily{&#10;If $s = s(t)$ is the position function of an object that moves in a straight line, we know that its first derivative represents the velocity $v(t)$ of the object as a function of time:&#10;$$&#10;v(t) \, \, = \, \, \dot{s}(t) \, \, = \, \, \frac{\textrm{d} \, s(t)}{\textrm{d} \, t} \, .&#10;$$&#10;The instantaneous rate of change of velocity with respect to time is called the {\bf{acceleration}} $a(t)$ of the object. Acceleration is the change in velocity you feel when speeding up or slowing down in a car.\\[1mm]&#10;Thus the acceleration function is the derivative of the velocity function and is therefore the second derivative of the position function:\\[-1mm]&#10;$$&#10;a(t) \, \, = \, \, \dot{v}(t) \, \, = \, \, \ddot{s}(t) \, ,&#10;$$\\[-5mm]&#10;or, in Leibniz notation,\\[-3mm]&#10;$$&#10;a \, \, = \, \, \frac{\textrm{d} \, v(t)}{\textrm{d} \, t} \, \, = \, \, \frac{\textrm{d}^2 \, s(t)}{\textrm{d} \, t} \, .&#10;$$&#10;}}&#10;\end{minipage}&#10;\end{document}"/>
  <p:tag name="IGUANATEXSIZE" val="20"/>
  <p:tag name="IGUANATEXCURSOR" val="8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1,537"/>
  <p:tag name="ORIGINALWIDTH" val="4500,188"/>
  <p:tag name="LATEXADDIN" val="\documentclass{article}\pagestyle{empty}&#10;\usepackage{amsmath}&#10;\usepackage{amsfonts}&#10;\usepackage{amssymb}&#10;\begin{document}&#10;\begin{minipage}{12.7 cm}&#10;{\sffamily{&#10;The {\bf{third derivative}} $f'''$ is the derivative of the second derivative: $f''' = (f'')'$.\\[2mm]&#10;So $f'''(x)$ can be interpreted as the slope of the curve $y = f''(x)$ or as the rate of change of $f''(x)$. If $y = f(x)$, then alternative notations for the third derivative are&#10;$$&#10;y''' \, \, = \, \, f'''(x) \, \, = \, \, \frac{\textrm{d}}{\textrm{d} \, x} \left( \frac{\textrm{d}^2 \, y}{\textrm{d} \, x^2} \right)&#10;\, \, = \, \,&#10;\frac{\textrm{d}^3 \, y}{\textrm{d} \, x^3} \, .&#10;$$&#10;&#10;\vspace{0.3cm}&#10;In general, the {\bf{$n$-th derivative}} of a $n$-times differentiable function is denoted by&#10;$$&#10;f^{(n)}(x) \, \, = \, \, \frac{\textrm{d}^n \, f(x)}{\textrm{d} \, x^n} \, \, = \, \, \frac{\textrm{d}^n}{\textrm{d} \, x^n} f(x) \, .&#10;$$&#10;}}&#10;\end{minipage}&#10;\end{document}"/>
  <p:tag name="IGUANATEXSIZE" val="20"/>
  <p:tag name="IGUANATEXCURSOR" val="8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3</Words>
  <Application>Microsoft Office PowerPoint</Application>
  <PresentationFormat>Bildschirmpräsentation (16:9)</PresentationFormat>
  <Paragraphs>31</Paragraphs>
  <Slides>8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9" baseType="lpstr">
      <vt:lpstr>Larissa-Design</vt:lpstr>
      <vt:lpstr>Calculus I for MGMT – Advanced Differentiation Rules Higher-Order Derivatives</vt:lpstr>
      <vt:lpstr>Often it is possible to take the derivative of a derivative (i.e. the second derivative) or even derivatives of higher order</vt:lpstr>
      <vt:lpstr>Example: Computation of the second derivative</vt:lpstr>
      <vt:lpstr>Example: Computation of the second derivative</vt:lpstr>
      <vt:lpstr>Example: Derivative of the natural exponential function</vt:lpstr>
      <vt:lpstr>In general, we can interpret a second derivative as a rate of change of a rate of change: the most familiar example of this is acceleration</vt:lpstr>
      <vt:lpstr>The third derivative and even higher-orders…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4</cp:revision>
  <dcterms:created xsi:type="dcterms:W3CDTF">2020-04-04T18:50:50Z</dcterms:created>
  <dcterms:modified xsi:type="dcterms:W3CDTF">2022-10-04T18:00:47Z</dcterms:modified>
</cp:coreProperties>
</file>